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4"/>
  </p:notesMasterIdLst>
  <p:handoutMasterIdLst>
    <p:handoutMasterId r:id="rId5"/>
  </p:handoutMasterIdLst>
  <p:sldIdLst>
    <p:sldId id="480" r:id="rId2"/>
    <p:sldId id="479" r:id="rId3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80"/>
            <p14:sldId id="47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72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82AB5E6-D62E-4F29-9627-246FEB1C03F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A1BF24F-31D3-4A8A-AF0E-971E6B0668FC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6935907-B11D-433E-B8CF-77393FD7EA59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4F2B56B-CD1D-46AE-8310-8AAB4D93F89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7CCBA6E-F94E-4491-9C4D-C142C6225F0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D18CA43-0846-48A8-BF7E-0292A7BEF7C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V.C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7C5B25F-1EC8-4B51-A67C-5424162B1EB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CBEFB35-0F2B-484F-A39A-8695A963ABA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23B5549-654A-4574-A9AF-820534D9279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BFE6981-284D-4E0E-9D75-A8D01DC5EA3B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60C55C3-A8E3-4CE4-8F3B-11EBB5F1450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0FBDF1E-AB6F-4F46-9AB4-620D86D621E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2D59DD2-B007-4895-A1CF-134ECD1F551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- Customizing &amp; Tools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9589616-252D-48F8-93E1-E525172B96C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386474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smtClean="0"/>
                        <a:t>IV.C </a:t>
                      </a:r>
                      <a:r>
                        <a:rPr lang="de-DE" sz="2400" b="1" dirty="0" smtClean="0"/>
                        <a:t>Suchoptionen &amp;</a:t>
                      </a:r>
                      <a:r>
                        <a:rPr lang="de-DE" sz="2400" b="1" baseline="0" dirty="0" smtClean="0"/>
                        <a:t> Views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601776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576460-FBEC-40E6-A370-C24540A56338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ktor-IPS Tools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412875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odellsuche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uche nach Attributen, Methoden, Assoziationen, Regeln, Tabellen im Workspace 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Produktsuche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uche nach Produktbausteinen eines anzugebenden Produktbaustein-Typs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stanz Ansich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eigt die Produktbausteine eines Produktbaustein-Typs an, der über das Kontextmenü z.B. Modellexplorers ausgewählt wurde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Hierarchie Ansich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eigt die Ableitungshierarchie von Modellklassen a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odellstruktur Ansich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eigt die </a:t>
            </a:r>
            <a:r>
              <a:rPr lang="de-DE" dirty="0" err="1"/>
              <a:t>Kompositstruktur</a:t>
            </a:r>
            <a:r>
              <a:rPr lang="de-DE" dirty="0"/>
              <a:t> eines Modells oder Modellausschnitts a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C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098367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</Words>
  <Application>Microsoft Office PowerPoint</Application>
  <PresentationFormat>Bildschirmpräsentation (4:3)</PresentationFormat>
  <Paragraphs>16</Paragraphs>
  <Slides>2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3" baseType="lpstr">
      <vt:lpstr>Master - ConVista General </vt:lpstr>
      <vt:lpstr>Inhalt - Customizing &amp; Tools</vt:lpstr>
      <vt:lpstr>Faktor-IPS Tools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8</cp:revision>
  <cp:lastPrinted>2012-11-19T11:42:38Z</cp:lastPrinted>
  <dcterms:created xsi:type="dcterms:W3CDTF">2005-03-22T09:36:15Z</dcterms:created>
  <dcterms:modified xsi:type="dcterms:W3CDTF">2013-05-17T13:20:49Z</dcterms:modified>
  <cp:category>Master</cp:category>
  <cp:contentStatus>RELEASED</cp:contentStatus>
</cp:coreProperties>
</file>